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8" r:id="rId2"/>
    <p:sldMasterId id="2147483711" r:id="rId3"/>
    <p:sldMasterId id="2147483726" r:id="rId4"/>
    <p:sldMasterId id="2147483747" r:id="rId5"/>
  </p:sldMasterIdLst>
  <p:notesMasterIdLst>
    <p:notesMasterId r:id="rId17"/>
  </p:notesMasterIdLst>
  <p:handoutMasterIdLst>
    <p:handoutMasterId r:id="rId18"/>
  </p:handoutMasterIdLst>
  <p:sldIdLst>
    <p:sldId id="297" r:id="rId6"/>
    <p:sldId id="288" r:id="rId7"/>
    <p:sldId id="335" r:id="rId8"/>
    <p:sldId id="337" r:id="rId9"/>
    <p:sldId id="342" r:id="rId10"/>
    <p:sldId id="338" r:id="rId11"/>
    <p:sldId id="339" r:id="rId12"/>
    <p:sldId id="340" r:id="rId13"/>
    <p:sldId id="344" r:id="rId14"/>
    <p:sldId id="345" r:id="rId15"/>
    <p:sldId id="303" r:id="rId16"/>
  </p:sldIdLst>
  <p:sldSz cx="9144000" cy="6858000" type="screen4x3"/>
  <p:notesSz cx="7099300" cy="10234613"/>
  <p:custDataLst>
    <p:tags r:id="rId19"/>
  </p:custDataLst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pos="2857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855" userDrawn="1">
          <p15:clr>
            <a:srgbClr val="A4A3A4"/>
          </p15:clr>
        </p15:guide>
        <p15:guide id="5" pos="4445" userDrawn="1">
          <p15:clr>
            <a:srgbClr val="A4A3A4"/>
          </p15:clr>
        </p15:guide>
        <p15:guide id="6" pos="188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5CA3"/>
    <a:srgbClr val="BE006B"/>
    <a:srgbClr val="B48900"/>
    <a:srgbClr val="DFD7D4"/>
    <a:srgbClr val="EDE8E4"/>
    <a:srgbClr val="D2D8D6"/>
    <a:srgbClr val="F3F4F4"/>
    <a:srgbClr val="F3E9D9"/>
    <a:srgbClr val="E3D3C4"/>
    <a:srgbClr val="E4C9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Style moyen 3 - Accentuation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40" autoAdjust="0"/>
    <p:restoredTop sz="96766"/>
  </p:normalViewPr>
  <p:slideViewPr>
    <p:cSldViewPr snapToGrid="0" snapToObjects="1">
      <p:cViewPr>
        <p:scale>
          <a:sx n="70" d="100"/>
          <a:sy n="70" d="100"/>
        </p:scale>
        <p:origin x="-682" y="-125"/>
      </p:cViewPr>
      <p:guideLst>
        <p:guide orient="horz" pos="2160"/>
        <p:guide pos="2857"/>
        <p:guide pos="3855"/>
        <p:guide pos="4445"/>
        <p:guide pos="1882"/>
      </p:guideLst>
    </p:cSldViewPr>
  </p:slideViewPr>
  <p:outlineViewPr>
    <p:cViewPr>
      <p:scale>
        <a:sx n="33" d="100"/>
        <a:sy n="33" d="100"/>
      </p:scale>
      <p:origin x="0" y="-779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171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ABD24DE-78F6-421D-B742-7AA2B9E8ECE8}" type="datetimeFigureOut">
              <a:rPr lang="fr-FR" smtClean="0"/>
              <a:t>14/12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FD065428-2AFD-45F6-A9C9-2C59AA6CF8E0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33994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509DBD7E-BBC0-CB4E-A9CE-047F9A58E69D}" type="datetimeFigureOut">
              <a:rPr lang="fr-FR" smtClean="0"/>
              <a:t>14/12/2017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279525"/>
            <a:ext cx="46037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5792C17-AD08-4E4C-AB6D-1035F7AC396F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1702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66691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393826"/>
            <a:ext cx="8420101" cy="4740276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609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5" y="2106613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772530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14074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5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77044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56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0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4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2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2" y="3035840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88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3" y="5237416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4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78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91265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4" t="352" r="9884" b="-2647"/>
          <a:stretch/>
        </p:blipFill>
        <p:spPr>
          <a:xfrm>
            <a:off x="-1" y="-312420"/>
            <a:ext cx="9152053" cy="736092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0" y="2903375"/>
            <a:ext cx="9144000" cy="914096"/>
          </a:xfrm>
        </p:spPr>
        <p:txBody>
          <a:bodyPr anchor="b"/>
          <a:lstStyle>
            <a:lvl1pPr algn="ctr">
              <a:defRPr sz="6600" cap="all" baseline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r-FR" dirty="0" smtClean="0"/>
              <a:t>GRACIAS</a:t>
            </a:r>
            <a:endParaRPr lang="en-US" dirty="0"/>
          </a:p>
        </p:txBody>
      </p:sp>
      <p:pic>
        <p:nvPicPr>
          <p:cNvPr id="7" name="6 Imagen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60" y="4518669"/>
            <a:ext cx="7637930" cy="16281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4445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3501" y="1280160"/>
            <a:ext cx="8556999" cy="467160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2855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A0C6CBA3-07E0-4E5A-9CBC-84DDD6F62137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270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CCA6D8E2-A421-439A-9542-C7671204AF4F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2564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109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82E74FB-98A9-4760-AAB1-CA40FB5892D0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998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E535B98-BEBB-425D-BC8E-307821EDBAC0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6355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96E64F78-AC8F-42E3-9C77-64ECDFE42C1E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573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6674" y="5684502"/>
            <a:ext cx="4896059" cy="443198"/>
          </a:xfrm>
        </p:spPr>
        <p:txBody>
          <a:bodyPr anchor="b"/>
          <a:lstStyle>
            <a:lvl1pPr algn="r">
              <a:defRPr sz="3200">
                <a:solidFill>
                  <a:srgbClr val="BE006B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3352" y="6151810"/>
            <a:ext cx="4893327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rgbClr val="BE006B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5905500"/>
            <a:ext cx="2815655" cy="379527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365120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0788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4597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18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E7423CB-C39B-46B7-9A76-B744759BC044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557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CA6FA23-9279-480B-970E-FA3CDB694608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183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2252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925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39"/>
          <p:cNvSpPr>
            <a:spLocks noGrp="1" noChangeArrowheads="1"/>
          </p:cNvSpPr>
          <p:nvPr>
            <p:ph type="ftr" sz="quarter" idx="10"/>
          </p:nvPr>
        </p:nvSpPr>
        <p:spPr>
          <a:xfrm>
            <a:off x="5164839" y="6426473"/>
            <a:ext cx="2895097" cy="238071"/>
          </a:xfrm>
          <a:prstGeom prst="rect">
            <a:avLst/>
          </a:prstGeom>
          <a:ln/>
        </p:spPr>
        <p:txBody>
          <a:bodyPr lIns="91089" tIns="45564" rIns="91089" bIns="45564"/>
          <a:lstStyle>
            <a:lvl1pPr>
              <a:defRPr/>
            </a:lvl1pPr>
          </a:lstStyle>
          <a:p>
            <a:pPr defTabSz="903121"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3" name="Rectangle 3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5321" y="6423127"/>
            <a:ext cx="482516" cy="234896"/>
          </a:xfrm>
          <a:prstGeom prst="rect">
            <a:avLst/>
          </a:prstGeom>
          <a:ln/>
        </p:spPr>
        <p:txBody>
          <a:bodyPr lIns="91089" tIns="45564" rIns="91089" bIns="45564"/>
          <a:lstStyle>
            <a:lvl1pPr>
              <a:defRPr/>
            </a:lvl1pPr>
          </a:lstStyle>
          <a:p>
            <a:pPr defTabSz="903121">
              <a:defRPr/>
            </a:pPr>
            <a:r>
              <a:rPr lang="en-US" smtClean="0">
                <a:solidFill>
                  <a:srgbClr val="000000"/>
                </a:solidFill>
              </a:rPr>
              <a:t>|</a:t>
            </a:r>
            <a:r>
              <a:rPr lang="en-US" sz="900" baseline="16000" smtClean="0">
                <a:solidFill>
                  <a:srgbClr val="000000"/>
                </a:solidFill>
              </a:rPr>
              <a:t>        </a:t>
            </a:r>
            <a:fld id="{B3F0C045-3BFE-48F8-AC0F-E14C8BA641F5}" type="slidenum">
              <a:rPr lang="en-US" smtClean="0">
                <a:solidFill>
                  <a:srgbClr val="000000"/>
                </a:solidFill>
              </a:rPr>
              <a:pPr defTabSz="903121">
                <a:defRPr/>
              </a:pPr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9018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45707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238" y="5684502"/>
            <a:ext cx="5729496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0380" y="6151810"/>
            <a:ext cx="5726299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99427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38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0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152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38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0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6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0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1426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1407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323308"/>
            <a:ext cx="8420101" cy="4727448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542446"/>
            <a:ext cx="7966866" cy="4304569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9126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8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8177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5740040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5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6107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5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2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3158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393826"/>
            <a:ext cx="8420101" cy="4740276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609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5" y="2106613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772530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81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5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5141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56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0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4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2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2" y="3035840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88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3" y="5237416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4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78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FFFFFF"/>
                </a:solidFill>
              </a:rPr>
              <a:pPr/>
              <a:t>‹Nº›</a:t>
            </a:fld>
            <a:endParaRPr lang="fr-F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5729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96"/>
          <p:cNvSpPr>
            <a:spLocks noGrp="1" noChangeArrowheads="1"/>
          </p:cNvSpPr>
          <p:nvPr>
            <p:ph type="dt" sz="half" idx="10"/>
          </p:nvPr>
        </p:nvSpPr>
        <p:spPr>
          <a:xfrm>
            <a:off x="7893057" y="6451600"/>
            <a:ext cx="90011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60DBC-1CEF-4BD3-80C0-C7BC98A8A679}" type="datetime1">
              <a:rPr lang="en-GB">
                <a:solidFill>
                  <a:srgbClr val="444492"/>
                </a:solidFill>
              </a:rPr>
              <a:pPr>
                <a:defRPr/>
              </a:pPr>
              <a:t>14/12/2017</a:t>
            </a:fld>
            <a:endParaRPr lang="en-GB">
              <a:solidFill>
                <a:srgbClr val="444492"/>
              </a:solidFill>
            </a:endParaRPr>
          </a:p>
        </p:txBody>
      </p:sp>
      <p:sp>
        <p:nvSpPr>
          <p:cNvPr id="4" name="Rectangle 97"/>
          <p:cNvSpPr>
            <a:spLocks noGrp="1" noChangeArrowheads="1"/>
          </p:cNvSpPr>
          <p:nvPr>
            <p:ph type="ftr" sz="quarter" idx="11"/>
          </p:nvPr>
        </p:nvSpPr>
        <p:spPr>
          <a:xfrm>
            <a:off x="358776" y="6423039"/>
            <a:ext cx="6478588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444492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8574A-8C69-4869-A97C-A2695A78FD5F}" type="slidenum">
              <a:rPr lang="en-GB">
                <a:solidFill>
                  <a:srgbClr val="6B747B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03952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0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74500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660400"/>
            <a:ext cx="800735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050" y="6092007"/>
            <a:ext cx="2015999" cy="431329"/>
          </a:xfrm>
          <a:prstGeom prst="rect">
            <a:avLst/>
          </a:prstGeom>
        </p:spPr>
      </p:pic>
      <p:sp>
        <p:nvSpPr>
          <p:cNvPr id="4" name="3 Rectángulo"/>
          <p:cNvSpPr/>
          <p:nvPr userDrawn="1"/>
        </p:nvSpPr>
        <p:spPr>
          <a:xfrm>
            <a:off x="0" y="3848100"/>
            <a:ext cx="9144000" cy="1498600"/>
          </a:xfrm>
          <a:prstGeom prst="rect">
            <a:avLst/>
          </a:prstGeom>
          <a:solidFill>
            <a:srgbClr val="525CA3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07252" y="4062402"/>
            <a:ext cx="5729496" cy="553998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, </a:t>
            </a:r>
            <a:r>
              <a:rPr lang="en-US" noProof="0" dirty="0" smtClean="0"/>
              <a:t>40 </a:t>
            </a:r>
            <a:r>
              <a:rPr lang="en-US" noProof="0" dirty="0"/>
              <a:t>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08851" y="4691310"/>
            <a:ext cx="5726299" cy="365279"/>
          </a:xfrm>
        </p:spPr>
        <p:txBody>
          <a:bodyPr/>
          <a:lstStyle>
            <a:lvl1pPr marL="0" indent="0" algn="ctr">
              <a:buNone/>
              <a:defRPr sz="2400" b="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</p:spTree>
    <p:extLst>
      <p:ext uri="{BB962C8B-B14F-4D97-AF65-F5344CB8AC3E}">
        <p14:creationId xmlns:p14="http://schemas.microsoft.com/office/powerpoint/2010/main" val="34837042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660400"/>
            <a:ext cx="800735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050" y="6092007"/>
            <a:ext cx="2015999" cy="4313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07252" y="4062402"/>
            <a:ext cx="5729496" cy="553998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, </a:t>
            </a:r>
            <a:r>
              <a:rPr lang="en-US" noProof="0" dirty="0" smtClean="0"/>
              <a:t>40 </a:t>
            </a:r>
            <a:r>
              <a:rPr lang="en-US" noProof="0" dirty="0"/>
              <a:t>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08851" y="4691310"/>
            <a:ext cx="5726299" cy="365279"/>
          </a:xfrm>
        </p:spPr>
        <p:txBody>
          <a:bodyPr/>
          <a:lstStyle>
            <a:lvl1pPr marL="0" indent="0" algn="ctr">
              <a:buNone/>
              <a:defRPr sz="2400" b="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</p:spTree>
    <p:extLst>
      <p:ext uri="{BB962C8B-B14F-4D97-AF65-F5344CB8AC3E}">
        <p14:creationId xmlns:p14="http://schemas.microsoft.com/office/powerpoint/2010/main" val="6101634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238" y="5684502"/>
            <a:ext cx="5729496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0380" y="6151810"/>
            <a:ext cx="5726299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92489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38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0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23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0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5797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5712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7049"/>
            <a:ext cx="8420101" cy="4727448"/>
          </a:xfrm>
          <a:prstGeom prst="rect">
            <a:avLst/>
          </a:prstGeom>
          <a:solidFill>
            <a:srgbClr val="EDEDF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746187"/>
            <a:ext cx="7966866" cy="4304569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6514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8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6573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5740040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5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0883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5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2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1399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0826"/>
            <a:ext cx="8420101" cy="4740276"/>
          </a:xfrm>
          <a:prstGeom prst="rect">
            <a:avLst/>
          </a:prstGeom>
          <a:solidFill>
            <a:srgbClr val="EDEDF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736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5" y="2233613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899530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1556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5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8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387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56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0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4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2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2" y="3035840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88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3" y="5237416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4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78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7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87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62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ffres clés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644263"/>
            <a:ext cx="9144000" cy="169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Slide </a:t>
            </a:r>
            <a:r>
              <a:rPr lang="en-US" noProof="0" dirty="0" err="1"/>
              <a:t>texte</a:t>
            </a:r>
            <a:r>
              <a:rPr lang="en-US" noProof="0" dirty="0"/>
              <a:t> - 1 </a:t>
            </a:r>
            <a:r>
              <a:rPr lang="en-US" noProof="0" dirty="0" err="1"/>
              <a:t>colonne</a:t>
            </a:r>
            <a:r>
              <a:rPr lang="en-US" noProof="0" dirty="0"/>
              <a:t>, corps 28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1353600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1702260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2616114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0" y="1297623"/>
            <a:ext cx="4210187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229020"/>
            <a:ext cx="4210187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3905141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5" y="4836538"/>
            <a:ext cx="4213225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126066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466500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1838493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87">
          <p15:clr>
            <a:srgbClr val="FBAE40"/>
          </p15:clr>
        </p15:guide>
        <p15:guide id="2" orient="horz" pos="2197">
          <p15:clr>
            <a:srgbClr val="FBAE40"/>
          </p15:clr>
        </p15:guide>
        <p15:guide id="3" orient="horz" pos="463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1" y="4874295"/>
            <a:ext cx="9133605" cy="198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9144000" cy="535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30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2165952"/>
            <a:ext cx="9143999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0000" y="5876343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7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96"/>
          <p:cNvSpPr>
            <a:spLocks noGrp="1" noChangeArrowheads="1"/>
          </p:cNvSpPr>
          <p:nvPr>
            <p:ph type="dt" sz="half" idx="10"/>
          </p:nvPr>
        </p:nvSpPr>
        <p:spPr>
          <a:xfrm>
            <a:off x="7893057" y="6451600"/>
            <a:ext cx="900113" cy="1793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60DBC-1CEF-4BD3-80C0-C7BC98A8A679}" type="datetime1">
              <a:rPr lang="en-GB">
                <a:solidFill>
                  <a:srgbClr val="444492"/>
                </a:solidFill>
              </a:rPr>
              <a:pPr>
                <a:defRPr/>
              </a:pPr>
              <a:t>14/12/2017</a:t>
            </a:fld>
            <a:endParaRPr lang="en-GB">
              <a:solidFill>
                <a:srgbClr val="444492"/>
              </a:solidFill>
            </a:endParaRPr>
          </a:p>
        </p:txBody>
      </p:sp>
      <p:sp>
        <p:nvSpPr>
          <p:cNvPr id="4" name="Rectangle 97"/>
          <p:cNvSpPr>
            <a:spLocks noGrp="1" noChangeArrowheads="1"/>
          </p:cNvSpPr>
          <p:nvPr>
            <p:ph type="ftr" sz="quarter" idx="11"/>
          </p:nvPr>
        </p:nvSpPr>
        <p:spPr>
          <a:xfrm>
            <a:off x="358776" y="6423039"/>
            <a:ext cx="6478588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444492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8574A-8C69-4869-A97C-A2695A78FD5F}" type="slidenum">
              <a:rPr lang="en-GB">
                <a:solidFill>
                  <a:srgbClr val="6B747B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769818"/>
      </p:ext>
    </p:extLst>
  </p:cSld>
  <p:clrMapOvr>
    <a:masterClrMapping/>
  </p:clrMapOvr>
  <p:transition spd="med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27604F-4852-425D-8AD3-E40D93B1A56F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6663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93688" y="0"/>
            <a:ext cx="8556625" cy="8413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54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3501" y="1280160"/>
            <a:ext cx="8556999" cy="467160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198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A0C6CBA3-07E0-4E5A-9CBC-84DDD6F62137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227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323308"/>
            <a:ext cx="8420101" cy="4727448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542446"/>
            <a:ext cx="7966866" cy="4304569"/>
          </a:xfrm>
        </p:spPr>
        <p:txBody>
          <a:bodyPr/>
          <a:lstStyle>
            <a:lvl1pPr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CCA6D8E2-A421-439A-9542-C7671204AF4F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432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137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82E74FB-98A9-4760-AAB1-CA40FB5892D0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4091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E535B98-BEBB-425D-BC8E-307821EDBAC0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793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96E64F78-AC8F-42E3-9C77-64ECDFE42C1E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776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12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773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E7423CB-C39B-46B7-9A76-B744759BC044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87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CA6FA23-9279-480B-970E-FA3CDB694608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88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386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7159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8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7233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7175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39"/>
          <p:cNvSpPr>
            <a:spLocks noGrp="1" noChangeArrowheads="1"/>
          </p:cNvSpPr>
          <p:nvPr>
            <p:ph type="ftr" sz="quarter" idx="10"/>
          </p:nvPr>
        </p:nvSpPr>
        <p:spPr>
          <a:xfrm>
            <a:off x="5164839" y="6426473"/>
            <a:ext cx="2895097" cy="238071"/>
          </a:xfrm>
          <a:prstGeom prst="rect">
            <a:avLst/>
          </a:prstGeom>
          <a:ln/>
        </p:spPr>
        <p:txBody>
          <a:bodyPr lIns="91089" tIns="45564" rIns="91089" bIns="45564"/>
          <a:lstStyle>
            <a:lvl1pPr>
              <a:defRPr/>
            </a:lvl1pPr>
          </a:lstStyle>
          <a:p>
            <a:pPr defTabSz="903121"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3" name="Rectangle 3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5321" y="6423127"/>
            <a:ext cx="482516" cy="234896"/>
          </a:xfrm>
          <a:prstGeom prst="rect">
            <a:avLst/>
          </a:prstGeom>
          <a:ln/>
        </p:spPr>
        <p:txBody>
          <a:bodyPr lIns="91089" tIns="45564" rIns="91089" bIns="45564"/>
          <a:lstStyle>
            <a:lvl1pPr>
              <a:defRPr/>
            </a:lvl1pPr>
          </a:lstStyle>
          <a:p>
            <a:pPr defTabSz="903121">
              <a:defRPr/>
            </a:pPr>
            <a:r>
              <a:rPr lang="en-US" smtClean="0">
                <a:solidFill>
                  <a:srgbClr val="000000"/>
                </a:solidFill>
              </a:rPr>
              <a:t>|</a:t>
            </a:r>
            <a:r>
              <a:rPr lang="en-US" sz="900" baseline="16000" smtClean="0">
                <a:solidFill>
                  <a:srgbClr val="000000"/>
                </a:solidFill>
              </a:rPr>
              <a:t>        </a:t>
            </a:r>
            <a:fld id="{B3F0C045-3BFE-48F8-AC0F-E14C8BA641F5}" type="slidenum">
              <a:rPr lang="en-US" smtClean="0">
                <a:solidFill>
                  <a:srgbClr val="000000"/>
                </a:solidFill>
              </a:rPr>
              <a:pPr defTabSz="903121">
                <a:defRPr/>
              </a:pPr>
              <a:t>‹Nº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378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0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5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1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5740040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5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03567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5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2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77266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image" Target="../media/image10.jp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59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rgbClr val="BE00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 userDrawn="1"/>
        </p:nvSpPr>
        <p:spPr>
          <a:xfrm>
            <a:off x="-45508" y="6343500"/>
            <a:ext cx="9214906" cy="512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12 Forma libre"/>
          <p:cNvSpPr/>
          <p:nvPr userDrawn="1"/>
        </p:nvSpPr>
        <p:spPr>
          <a:xfrm>
            <a:off x="2486025" y="6337364"/>
            <a:ext cx="6683373" cy="520636"/>
          </a:xfrm>
          <a:custGeom>
            <a:avLst/>
            <a:gdLst>
              <a:gd name="connsiteX0" fmla="*/ 0 w 2597943"/>
              <a:gd name="connsiteY0" fmla="*/ 0 h 707231"/>
              <a:gd name="connsiteX1" fmla="*/ 392906 w 2597943"/>
              <a:gd name="connsiteY1" fmla="*/ 707231 h 707231"/>
              <a:gd name="connsiteX2" fmla="*/ 2597943 w 2597943"/>
              <a:gd name="connsiteY2" fmla="*/ 707231 h 707231"/>
              <a:gd name="connsiteX3" fmla="*/ 2597943 w 2597943"/>
              <a:gd name="connsiteY3" fmla="*/ 4762 h 707231"/>
              <a:gd name="connsiteX4" fmla="*/ 0 w 2597943"/>
              <a:gd name="connsiteY4" fmla="*/ 0 h 707231"/>
              <a:gd name="connsiteX0" fmla="*/ 0 w 6565312"/>
              <a:gd name="connsiteY0" fmla="*/ 0 h 707231"/>
              <a:gd name="connsiteX1" fmla="*/ 392906 w 6565312"/>
              <a:gd name="connsiteY1" fmla="*/ 707231 h 707231"/>
              <a:gd name="connsiteX2" fmla="*/ 2597943 w 6565312"/>
              <a:gd name="connsiteY2" fmla="*/ 707231 h 707231"/>
              <a:gd name="connsiteX3" fmla="*/ 6565312 w 6565312"/>
              <a:gd name="connsiteY3" fmla="*/ 4762 h 707231"/>
              <a:gd name="connsiteX4" fmla="*/ 0 w 6565312"/>
              <a:gd name="connsiteY4" fmla="*/ 0 h 707231"/>
              <a:gd name="connsiteX0" fmla="*/ 0 w 6591108"/>
              <a:gd name="connsiteY0" fmla="*/ 0 h 707231"/>
              <a:gd name="connsiteX1" fmla="*/ 392906 w 6591108"/>
              <a:gd name="connsiteY1" fmla="*/ 707231 h 707231"/>
              <a:gd name="connsiteX2" fmla="*/ 6591108 w 6591108"/>
              <a:gd name="connsiteY2" fmla="*/ 707231 h 707231"/>
              <a:gd name="connsiteX3" fmla="*/ 6565312 w 6591108"/>
              <a:gd name="connsiteY3" fmla="*/ 4762 h 707231"/>
              <a:gd name="connsiteX4" fmla="*/ 0 w 6591108"/>
              <a:gd name="connsiteY4" fmla="*/ 0 h 707231"/>
              <a:gd name="connsiteX0" fmla="*/ 0 w 6575631"/>
              <a:gd name="connsiteY0" fmla="*/ 0 h 707231"/>
              <a:gd name="connsiteX1" fmla="*/ 392906 w 6575631"/>
              <a:gd name="connsiteY1" fmla="*/ 707231 h 707231"/>
              <a:gd name="connsiteX2" fmla="*/ 6575631 w 6575631"/>
              <a:gd name="connsiteY2" fmla="*/ 704850 h 707231"/>
              <a:gd name="connsiteX3" fmla="*/ 6565312 w 6575631"/>
              <a:gd name="connsiteY3" fmla="*/ 4762 h 707231"/>
              <a:gd name="connsiteX4" fmla="*/ 0 w 6575631"/>
              <a:gd name="connsiteY4" fmla="*/ 0 h 707231"/>
              <a:gd name="connsiteX0" fmla="*/ 0 w 6565312"/>
              <a:gd name="connsiteY0" fmla="*/ 0 h 707231"/>
              <a:gd name="connsiteX1" fmla="*/ 392906 w 6565312"/>
              <a:gd name="connsiteY1" fmla="*/ 707231 h 707231"/>
              <a:gd name="connsiteX2" fmla="*/ 6562088 w 6565312"/>
              <a:gd name="connsiteY2" fmla="*/ 707231 h 707231"/>
              <a:gd name="connsiteX3" fmla="*/ 6565312 w 6565312"/>
              <a:gd name="connsiteY3" fmla="*/ 4762 h 707231"/>
              <a:gd name="connsiteX4" fmla="*/ 0 w 6565312"/>
              <a:gd name="connsiteY4" fmla="*/ 0 h 70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5312" h="707231">
                <a:moveTo>
                  <a:pt x="0" y="0"/>
                </a:moveTo>
                <a:lnTo>
                  <a:pt x="392906" y="707231"/>
                </a:lnTo>
                <a:lnTo>
                  <a:pt x="6562088" y="707231"/>
                </a:lnTo>
                <a:cubicBezTo>
                  <a:pt x="6563163" y="473075"/>
                  <a:pt x="6564237" y="238918"/>
                  <a:pt x="6565312" y="4762"/>
                </a:cubicBezTo>
                <a:lnTo>
                  <a:pt x="0" y="0"/>
                </a:lnTo>
                <a:close/>
              </a:path>
            </a:pathLst>
          </a:cu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13 Forma libre"/>
          <p:cNvSpPr/>
          <p:nvPr userDrawn="1"/>
        </p:nvSpPr>
        <p:spPr>
          <a:xfrm>
            <a:off x="-35719" y="6335563"/>
            <a:ext cx="502444" cy="520636"/>
          </a:xfrm>
          <a:custGeom>
            <a:avLst/>
            <a:gdLst>
              <a:gd name="connsiteX0" fmla="*/ 0 w 502444"/>
              <a:gd name="connsiteY0" fmla="*/ 0 h 707231"/>
              <a:gd name="connsiteX1" fmla="*/ 121444 w 502444"/>
              <a:gd name="connsiteY1" fmla="*/ 0 h 707231"/>
              <a:gd name="connsiteX2" fmla="*/ 502444 w 502444"/>
              <a:gd name="connsiteY2" fmla="*/ 707231 h 707231"/>
              <a:gd name="connsiteX3" fmla="*/ 0 w 502444"/>
              <a:gd name="connsiteY3" fmla="*/ 707231 h 707231"/>
              <a:gd name="connsiteX4" fmla="*/ 0 w 502444"/>
              <a:gd name="connsiteY4" fmla="*/ 0 h 70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444" h="707231">
                <a:moveTo>
                  <a:pt x="0" y="0"/>
                </a:moveTo>
                <a:lnTo>
                  <a:pt x="121444" y="0"/>
                </a:lnTo>
                <a:lnTo>
                  <a:pt x="502444" y="707231"/>
                </a:lnTo>
                <a:lnTo>
                  <a:pt x="0" y="707231"/>
                </a:lnTo>
                <a:lnTo>
                  <a:pt x="0" y="0"/>
                </a:lnTo>
                <a:close/>
              </a:path>
            </a:pathLst>
          </a:cu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5 Forma libre"/>
          <p:cNvSpPr/>
          <p:nvPr userDrawn="1"/>
        </p:nvSpPr>
        <p:spPr>
          <a:xfrm>
            <a:off x="-45508" y="6292699"/>
            <a:ext cx="47889" cy="733426"/>
          </a:xfrm>
          <a:custGeom>
            <a:avLst/>
            <a:gdLst>
              <a:gd name="connsiteX0" fmla="*/ 5027 w 47889"/>
              <a:gd name="connsiteY0" fmla="*/ 0 h 733426"/>
              <a:gd name="connsiteX1" fmla="*/ 5027 w 47889"/>
              <a:gd name="connsiteY1" fmla="*/ 0 h 733426"/>
              <a:gd name="connsiteX2" fmla="*/ 9789 w 47889"/>
              <a:gd name="connsiteY2" fmla="*/ 52388 h 733426"/>
              <a:gd name="connsiteX3" fmla="*/ 14552 w 47889"/>
              <a:gd name="connsiteY3" fmla="*/ 150019 h 733426"/>
              <a:gd name="connsiteX4" fmla="*/ 12170 w 47889"/>
              <a:gd name="connsiteY4" fmla="*/ 340519 h 733426"/>
              <a:gd name="connsiteX5" fmla="*/ 7408 w 47889"/>
              <a:gd name="connsiteY5" fmla="*/ 364332 h 733426"/>
              <a:gd name="connsiteX6" fmla="*/ 2645 w 47889"/>
              <a:gd name="connsiteY6" fmla="*/ 388144 h 733426"/>
              <a:gd name="connsiteX7" fmla="*/ 5027 w 47889"/>
              <a:gd name="connsiteY7" fmla="*/ 426244 h 733426"/>
              <a:gd name="connsiteX8" fmla="*/ 9789 w 47889"/>
              <a:gd name="connsiteY8" fmla="*/ 445294 h 733426"/>
              <a:gd name="connsiteX9" fmla="*/ 14552 w 47889"/>
              <a:gd name="connsiteY9" fmla="*/ 469107 h 733426"/>
              <a:gd name="connsiteX10" fmla="*/ 16933 w 47889"/>
              <a:gd name="connsiteY10" fmla="*/ 476251 h 733426"/>
              <a:gd name="connsiteX11" fmla="*/ 19314 w 47889"/>
              <a:gd name="connsiteY11" fmla="*/ 488157 h 733426"/>
              <a:gd name="connsiteX12" fmla="*/ 21695 w 47889"/>
              <a:gd name="connsiteY12" fmla="*/ 497682 h 733426"/>
              <a:gd name="connsiteX13" fmla="*/ 24077 w 47889"/>
              <a:gd name="connsiteY13" fmla="*/ 509588 h 733426"/>
              <a:gd name="connsiteX14" fmla="*/ 26458 w 47889"/>
              <a:gd name="connsiteY14" fmla="*/ 523876 h 733426"/>
              <a:gd name="connsiteX15" fmla="*/ 31220 w 47889"/>
              <a:gd name="connsiteY15" fmla="*/ 538163 h 733426"/>
              <a:gd name="connsiteX16" fmla="*/ 33602 w 47889"/>
              <a:gd name="connsiteY16" fmla="*/ 545307 h 733426"/>
              <a:gd name="connsiteX17" fmla="*/ 38364 w 47889"/>
              <a:gd name="connsiteY17" fmla="*/ 642938 h 733426"/>
              <a:gd name="connsiteX18" fmla="*/ 43127 w 47889"/>
              <a:gd name="connsiteY18" fmla="*/ 673894 h 733426"/>
              <a:gd name="connsiteX19" fmla="*/ 47889 w 47889"/>
              <a:gd name="connsiteY19" fmla="*/ 692944 h 733426"/>
              <a:gd name="connsiteX20" fmla="*/ 45508 w 47889"/>
              <a:gd name="connsiteY20" fmla="*/ 707232 h 733426"/>
              <a:gd name="connsiteX21" fmla="*/ 28839 w 47889"/>
              <a:gd name="connsiteY21" fmla="*/ 728663 h 733426"/>
              <a:gd name="connsiteX22" fmla="*/ 14552 w 47889"/>
              <a:gd name="connsiteY22" fmla="*/ 733426 h 733426"/>
              <a:gd name="connsiteX23" fmla="*/ 264 w 47889"/>
              <a:gd name="connsiteY23" fmla="*/ 726282 h 733426"/>
              <a:gd name="connsiteX24" fmla="*/ 2645 w 47889"/>
              <a:gd name="connsiteY24" fmla="*/ 719138 h 733426"/>
              <a:gd name="connsiteX25" fmla="*/ 12170 w 47889"/>
              <a:gd name="connsiteY25" fmla="*/ 711994 h 733426"/>
              <a:gd name="connsiteX26" fmla="*/ 16933 w 47889"/>
              <a:gd name="connsiteY26" fmla="*/ 683419 h 733426"/>
              <a:gd name="connsiteX27" fmla="*/ 19314 w 47889"/>
              <a:gd name="connsiteY27" fmla="*/ 664369 h 733426"/>
              <a:gd name="connsiteX28" fmla="*/ 26458 w 47889"/>
              <a:gd name="connsiteY28" fmla="*/ 659607 h 73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889" h="733426">
                <a:moveTo>
                  <a:pt x="5027" y="0"/>
                </a:moveTo>
                <a:lnTo>
                  <a:pt x="5027" y="0"/>
                </a:lnTo>
                <a:lnTo>
                  <a:pt x="9789" y="52388"/>
                </a:lnTo>
                <a:cubicBezTo>
                  <a:pt x="10687" y="62265"/>
                  <a:pt x="14264" y="143687"/>
                  <a:pt x="14552" y="150019"/>
                </a:cubicBezTo>
                <a:cubicBezTo>
                  <a:pt x="13758" y="213519"/>
                  <a:pt x="13647" y="277031"/>
                  <a:pt x="12170" y="340519"/>
                </a:cubicBezTo>
                <a:cubicBezTo>
                  <a:pt x="11955" y="349753"/>
                  <a:pt x="9127" y="355736"/>
                  <a:pt x="7408" y="364332"/>
                </a:cubicBezTo>
                <a:cubicBezTo>
                  <a:pt x="1575" y="393500"/>
                  <a:pt x="8174" y="366036"/>
                  <a:pt x="2645" y="388144"/>
                </a:cubicBezTo>
                <a:cubicBezTo>
                  <a:pt x="3439" y="400844"/>
                  <a:pt x="3449" y="413617"/>
                  <a:pt x="5027" y="426244"/>
                </a:cubicBezTo>
                <a:cubicBezTo>
                  <a:pt x="5839" y="432739"/>
                  <a:pt x="8202" y="438944"/>
                  <a:pt x="9789" y="445294"/>
                </a:cubicBezTo>
                <a:cubicBezTo>
                  <a:pt x="11752" y="453147"/>
                  <a:pt x="12964" y="461169"/>
                  <a:pt x="14552" y="469107"/>
                </a:cubicBezTo>
                <a:cubicBezTo>
                  <a:pt x="15044" y="471568"/>
                  <a:pt x="16324" y="473816"/>
                  <a:pt x="16933" y="476251"/>
                </a:cubicBezTo>
                <a:cubicBezTo>
                  <a:pt x="17915" y="480177"/>
                  <a:pt x="18436" y="484206"/>
                  <a:pt x="19314" y="488157"/>
                </a:cubicBezTo>
                <a:cubicBezTo>
                  <a:pt x="20024" y="491352"/>
                  <a:pt x="20985" y="494487"/>
                  <a:pt x="21695" y="497682"/>
                </a:cubicBezTo>
                <a:cubicBezTo>
                  <a:pt x="22573" y="501633"/>
                  <a:pt x="23353" y="505606"/>
                  <a:pt x="24077" y="509588"/>
                </a:cubicBezTo>
                <a:cubicBezTo>
                  <a:pt x="24941" y="514338"/>
                  <a:pt x="25287" y="519192"/>
                  <a:pt x="26458" y="523876"/>
                </a:cubicBezTo>
                <a:cubicBezTo>
                  <a:pt x="27675" y="528746"/>
                  <a:pt x="29633" y="533401"/>
                  <a:pt x="31220" y="538163"/>
                </a:cubicBezTo>
                <a:lnTo>
                  <a:pt x="33602" y="545307"/>
                </a:lnTo>
                <a:cubicBezTo>
                  <a:pt x="34614" y="569587"/>
                  <a:pt x="36233" y="616301"/>
                  <a:pt x="38364" y="642938"/>
                </a:cubicBezTo>
                <a:cubicBezTo>
                  <a:pt x="39190" y="653266"/>
                  <a:pt x="40790" y="663769"/>
                  <a:pt x="43127" y="673894"/>
                </a:cubicBezTo>
                <a:cubicBezTo>
                  <a:pt x="44599" y="680272"/>
                  <a:pt x="47889" y="692944"/>
                  <a:pt x="47889" y="692944"/>
                </a:cubicBezTo>
                <a:cubicBezTo>
                  <a:pt x="47095" y="697707"/>
                  <a:pt x="46555" y="702519"/>
                  <a:pt x="45508" y="707232"/>
                </a:cubicBezTo>
                <a:cubicBezTo>
                  <a:pt x="43579" y="715915"/>
                  <a:pt x="37976" y="725617"/>
                  <a:pt x="28839" y="728663"/>
                </a:cubicBezTo>
                <a:lnTo>
                  <a:pt x="14552" y="733426"/>
                </a:lnTo>
                <a:cubicBezTo>
                  <a:pt x="11546" y="732424"/>
                  <a:pt x="1684" y="729831"/>
                  <a:pt x="264" y="726282"/>
                </a:cubicBezTo>
                <a:cubicBezTo>
                  <a:pt x="-668" y="723951"/>
                  <a:pt x="1038" y="721066"/>
                  <a:pt x="2645" y="719138"/>
                </a:cubicBezTo>
                <a:cubicBezTo>
                  <a:pt x="5186" y="716089"/>
                  <a:pt x="8995" y="714375"/>
                  <a:pt x="12170" y="711994"/>
                </a:cubicBezTo>
                <a:cubicBezTo>
                  <a:pt x="16910" y="697779"/>
                  <a:pt x="14033" y="708070"/>
                  <a:pt x="16933" y="683419"/>
                </a:cubicBezTo>
                <a:cubicBezTo>
                  <a:pt x="17681" y="677063"/>
                  <a:pt x="16937" y="670311"/>
                  <a:pt x="19314" y="664369"/>
                </a:cubicBezTo>
                <a:cubicBezTo>
                  <a:pt x="20377" y="661712"/>
                  <a:pt x="26458" y="659607"/>
                  <a:pt x="26458" y="65960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6543882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0E94A8-0648-D043-B8F7-3AFA110B04BE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8" name="Connecteur droit 28"/>
          <p:cNvCxnSpPr/>
          <p:nvPr userDrawn="1"/>
        </p:nvCxnSpPr>
        <p:spPr>
          <a:xfrm>
            <a:off x="8958263" y="6605437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29"/>
          <p:cNvCxnSpPr/>
          <p:nvPr userDrawn="1"/>
        </p:nvCxnSpPr>
        <p:spPr>
          <a:xfrm>
            <a:off x="8575675" y="6557812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3 Imagen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25" y="6466778"/>
            <a:ext cx="1916066" cy="25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63" r:id="rId3"/>
    <p:sldLayoutId id="2147483675" r:id="rId4"/>
    <p:sldLayoutId id="2147483662" r:id="rId5"/>
    <p:sldLayoutId id="2147483664" r:id="rId6"/>
    <p:sldLayoutId id="2147483666" r:id="rId7"/>
    <p:sldLayoutId id="2147483665" r:id="rId8"/>
    <p:sldLayoutId id="2147483667" r:id="rId9"/>
    <p:sldLayoutId id="2147483670" r:id="rId10"/>
    <p:sldLayoutId id="2147483671" r:id="rId11"/>
    <p:sldLayoutId id="2147483672" r:id="rId12"/>
    <p:sldLayoutId id="2147483674" r:id="rId1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rgbClr val="BE006B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rgbClr val="BE006B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7107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805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1" r:id="rId12"/>
    <p:sldLayoutId id="2147483692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 userDrawn="1"/>
        </p:nvSpPr>
        <p:spPr>
          <a:xfrm>
            <a:off x="-45508" y="6343500"/>
            <a:ext cx="9214906" cy="512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3" name="12 Forma libre"/>
          <p:cNvSpPr/>
          <p:nvPr userDrawn="1"/>
        </p:nvSpPr>
        <p:spPr>
          <a:xfrm>
            <a:off x="1088627" y="6337364"/>
            <a:ext cx="8080771" cy="520636"/>
          </a:xfrm>
          <a:custGeom>
            <a:avLst/>
            <a:gdLst>
              <a:gd name="connsiteX0" fmla="*/ 0 w 2597943"/>
              <a:gd name="connsiteY0" fmla="*/ 0 h 707231"/>
              <a:gd name="connsiteX1" fmla="*/ 392906 w 2597943"/>
              <a:gd name="connsiteY1" fmla="*/ 707231 h 707231"/>
              <a:gd name="connsiteX2" fmla="*/ 2597943 w 2597943"/>
              <a:gd name="connsiteY2" fmla="*/ 707231 h 707231"/>
              <a:gd name="connsiteX3" fmla="*/ 2597943 w 2597943"/>
              <a:gd name="connsiteY3" fmla="*/ 4762 h 707231"/>
              <a:gd name="connsiteX4" fmla="*/ 0 w 2597943"/>
              <a:gd name="connsiteY4" fmla="*/ 0 h 707231"/>
              <a:gd name="connsiteX0" fmla="*/ 0 w 6565312"/>
              <a:gd name="connsiteY0" fmla="*/ 0 h 707231"/>
              <a:gd name="connsiteX1" fmla="*/ 392906 w 6565312"/>
              <a:gd name="connsiteY1" fmla="*/ 707231 h 707231"/>
              <a:gd name="connsiteX2" fmla="*/ 2597943 w 6565312"/>
              <a:gd name="connsiteY2" fmla="*/ 707231 h 707231"/>
              <a:gd name="connsiteX3" fmla="*/ 6565312 w 6565312"/>
              <a:gd name="connsiteY3" fmla="*/ 4762 h 707231"/>
              <a:gd name="connsiteX4" fmla="*/ 0 w 6565312"/>
              <a:gd name="connsiteY4" fmla="*/ 0 h 707231"/>
              <a:gd name="connsiteX0" fmla="*/ 0 w 6591108"/>
              <a:gd name="connsiteY0" fmla="*/ 0 h 707231"/>
              <a:gd name="connsiteX1" fmla="*/ 392906 w 6591108"/>
              <a:gd name="connsiteY1" fmla="*/ 707231 h 707231"/>
              <a:gd name="connsiteX2" fmla="*/ 6591108 w 6591108"/>
              <a:gd name="connsiteY2" fmla="*/ 707231 h 707231"/>
              <a:gd name="connsiteX3" fmla="*/ 6565312 w 6591108"/>
              <a:gd name="connsiteY3" fmla="*/ 4762 h 707231"/>
              <a:gd name="connsiteX4" fmla="*/ 0 w 6591108"/>
              <a:gd name="connsiteY4" fmla="*/ 0 h 707231"/>
              <a:gd name="connsiteX0" fmla="*/ 0 w 6575631"/>
              <a:gd name="connsiteY0" fmla="*/ 0 h 707231"/>
              <a:gd name="connsiteX1" fmla="*/ 392906 w 6575631"/>
              <a:gd name="connsiteY1" fmla="*/ 707231 h 707231"/>
              <a:gd name="connsiteX2" fmla="*/ 6575631 w 6575631"/>
              <a:gd name="connsiteY2" fmla="*/ 704850 h 707231"/>
              <a:gd name="connsiteX3" fmla="*/ 6565312 w 6575631"/>
              <a:gd name="connsiteY3" fmla="*/ 4762 h 707231"/>
              <a:gd name="connsiteX4" fmla="*/ 0 w 6575631"/>
              <a:gd name="connsiteY4" fmla="*/ 0 h 707231"/>
              <a:gd name="connsiteX0" fmla="*/ 0 w 6565312"/>
              <a:gd name="connsiteY0" fmla="*/ 0 h 707231"/>
              <a:gd name="connsiteX1" fmla="*/ 392906 w 6565312"/>
              <a:gd name="connsiteY1" fmla="*/ 707231 h 707231"/>
              <a:gd name="connsiteX2" fmla="*/ 6562088 w 6565312"/>
              <a:gd name="connsiteY2" fmla="*/ 707231 h 707231"/>
              <a:gd name="connsiteX3" fmla="*/ 6565312 w 6565312"/>
              <a:gd name="connsiteY3" fmla="*/ 4762 h 707231"/>
              <a:gd name="connsiteX4" fmla="*/ 0 w 6565312"/>
              <a:gd name="connsiteY4" fmla="*/ 0 h 70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5312" h="707231">
                <a:moveTo>
                  <a:pt x="0" y="0"/>
                </a:moveTo>
                <a:lnTo>
                  <a:pt x="392906" y="707231"/>
                </a:lnTo>
                <a:lnTo>
                  <a:pt x="6562088" y="707231"/>
                </a:lnTo>
                <a:cubicBezTo>
                  <a:pt x="6563163" y="473075"/>
                  <a:pt x="6564237" y="238918"/>
                  <a:pt x="6565312" y="4762"/>
                </a:cubicBezTo>
                <a:lnTo>
                  <a:pt x="0" y="0"/>
                </a:lnTo>
                <a:close/>
              </a:path>
            </a:pathLst>
          </a:cu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13 Forma libre"/>
          <p:cNvSpPr/>
          <p:nvPr userDrawn="1"/>
        </p:nvSpPr>
        <p:spPr>
          <a:xfrm>
            <a:off x="-35719" y="6335563"/>
            <a:ext cx="502444" cy="520636"/>
          </a:xfrm>
          <a:custGeom>
            <a:avLst/>
            <a:gdLst>
              <a:gd name="connsiteX0" fmla="*/ 0 w 502444"/>
              <a:gd name="connsiteY0" fmla="*/ 0 h 707231"/>
              <a:gd name="connsiteX1" fmla="*/ 121444 w 502444"/>
              <a:gd name="connsiteY1" fmla="*/ 0 h 707231"/>
              <a:gd name="connsiteX2" fmla="*/ 502444 w 502444"/>
              <a:gd name="connsiteY2" fmla="*/ 707231 h 707231"/>
              <a:gd name="connsiteX3" fmla="*/ 0 w 502444"/>
              <a:gd name="connsiteY3" fmla="*/ 707231 h 707231"/>
              <a:gd name="connsiteX4" fmla="*/ 0 w 502444"/>
              <a:gd name="connsiteY4" fmla="*/ 0 h 707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444" h="707231">
                <a:moveTo>
                  <a:pt x="0" y="0"/>
                </a:moveTo>
                <a:lnTo>
                  <a:pt x="121444" y="0"/>
                </a:lnTo>
                <a:lnTo>
                  <a:pt x="502444" y="707231"/>
                </a:lnTo>
                <a:lnTo>
                  <a:pt x="0" y="707231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pic>
        <p:nvPicPr>
          <p:cNvPr id="15" name="Picture 2" descr="C:\Users\e0257826\Desktop\town-hall-01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357597"/>
            <a:ext cx="860761" cy="481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15 Forma libre"/>
          <p:cNvSpPr/>
          <p:nvPr userDrawn="1"/>
        </p:nvSpPr>
        <p:spPr>
          <a:xfrm>
            <a:off x="-45508" y="6292699"/>
            <a:ext cx="47889" cy="733426"/>
          </a:xfrm>
          <a:custGeom>
            <a:avLst/>
            <a:gdLst>
              <a:gd name="connsiteX0" fmla="*/ 5027 w 47889"/>
              <a:gd name="connsiteY0" fmla="*/ 0 h 733426"/>
              <a:gd name="connsiteX1" fmla="*/ 5027 w 47889"/>
              <a:gd name="connsiteY1" fmla="*/ 0 h 733426"/>
              <a:gd name="connsiteX2" fmla="*/ 9789 w 47889"/>
              <a:gd name="connsiteY2" fmla="*/ 52388 h 733426"/>
              <a:gd name="connsiteX3" fmla="*/ 14552 w 47889"/>
              <a:gd name="connsiteY3" fmla="*/ 150019 h 733426"/>
              <a:gd name="connsiteX4" fmla="*/ 12170 w 47889"/>
              <a:gd name="connsiteY4" fmla="*/ 340519 h 733426"/>
              <a:gd name="connsiteX5" fmla="*/ 7408 w 47889"/>
              <a:gd name="connsiteY5" fmla="*/ 364332 h 733426"/>
              <a:gd name="connsiteX6" fmla="*/ 2645 w 47889"/>
              <a:gd name="connsiteY6" fmla="*/ 388144 h 733426"/>
              <a:gd name="connsiteX7" fmla="*/ 5027 w 47889"/>
              <a:gd name="connsiteY7" fmla="*/ 426244 h 733426"/>
              <a:gd name="connsiteX8" fmla="*/ 9789 w 47889"/>
              <a:gd name="connsiteY8" fmla="*/ 445294 h 733426"/>
              <a:gd name="connsiteX9" fmla="*/ 14552 w 47889"/>
              <a:gd name="connsiteY9" fmla="*/ 469107 h 733426"/>
              <a:gd name="connsiteX10" fmla="*/ 16933 w 47889"/>
              <a:gd name="connsiteY10" fmla="*/ 476251 h 733426"/>
              <a:gd name="connsiteX11" fmla="*/ 19314 w 47889"/>
              <a:gd name="connsiteY11" fmla="*/ 488157 h 733426"/>
              <a:gd name="connsiteX12" fmla="*/ 21695 w 47889"/>
              <a:gd name="connsiteY12" fmla="*/ 497682 h 733426"/>
              <a:gd name="connsiteX13" fmla="*/ 24077 w 47889"/>
              <a:gd name="connsiteY13" fmla="*/ 509588 h 733426"/>
              <a:gd name="connsiteX14" fmla="*/ 26458 w 47889"/>
              <a:gd name="connsiteY14" fmla="*/ 523876 h 733426"/>
              <a:gd name="connsiteX15" fmla="*/ 31220 w 47889"/>
              <a:gd name="connsiteY15" fmla="*/ 538163 h 733426"/>
              <a:gd name="connsiteX16" fmla="*/ 33602 w 47889"/>
              <a:gd name="connsiteY16" fmla="*/ 545307 h 733426"/>
              <a:gd name="connsiteX17" fmla="*/ 38364 w 47889"/>
              <a:gd name="connsiteY17" fmla="*/ 642938 h 733426"/>
              <a:gd name="connsiteX18" fmla="*/ 43127 w 47889"/>
              <a:gd name="connsiteY18" fmla="*/ 673894 h 733426"/>
              <a:gd name="connsiteX19" fmla="*/ 47889 w 47889"/>
              <a:gd name="connsiteY19" fmla="*/ 692944 h 733426"/>
              <a:gd name="connsiteX20" fmla="*/ 45508 w 47889"/>
              <a:gd name="connsiteY20" fmla="*/ 707232 h 733426"/>
              <a:gd name="connsiteX21" fmla="*/ 28839 w 47889"/>
              <a:gd name="connsiteY21" fmla="*/ 728663 h 733426"/>
              <a:gd name="connsiteX22" fmla="*/ 14552 w 47889"/>
              <a:gd name="connsiteY22" fmla="*/ 733426 h 733426"/>
              <a:gd name="connsiteX23" fmla="*/ 264 w 47889"/>
              <a:gd name="connsiteY23" fmla="*/ 726282 h 733426"/>
              <a:gd name="connsiteX24" fmla="*/ 2645 w 47889"/>
              <a:gd name="connsiteY24" fmla="*/ 719138 h 733426"/>
              <a:gd name="connsiteX25" fmla="*/ 12170 w 47889"/>
              <a:gd name="connsiteY25" fmla="*/ 711994 h 733426"/>
              <a:gd name="connsiteX26" fmla="*/ 16933 w 47889"/>
              <a:gd name="connsiteY26" fmla="*/ 683419 h 733426"/>
              <a:gd name="connsiteX27" fmla="*/ 19314 w 47889"/>
              <a:gd name="connsiteY27" fmla="*/ 664369 h 733426"/>
              <a:gd name="connsiteX28" fmla="*/ 26458 w 47889"/>
              <a:gd name="connsiteY28" fmla="*/ 659607 h 73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889" h="733426">
                <a:moveTo>
                  <a:pt x="5027" y="0"/>
                </a:moveTo>
                <a:lnTo>
                  <a:pt x="5027" y="0"/>
                </a:lnTo>
                <a:lnTo>
                  <a:pt x="9789" y="52388"/>
                </a:lnTo>
                <a:cubicBezTo>
                  <a:pt x="10687" y="62265"/>
                  <a:pt x="14264" y="143687"/>
                  <a:pt x="14552" y="150019"/>
                </a:cubicBezTo>
                <a:cubicBezTo>
                  <a:pt x="13758" y="213519"/>
                  <a:pt x="13647" y="277031"/>
                  <a:pt x="12170" y="340519"/>
                </a:cubicBezTo>
                <a:cubicBezTo>
                  <a:pt x="11955" y="349753"/>
                  <a:pt x="9127" y="355736"/>
                  <a:pt x="7408" y="364332"/>
                </a:cubicBezTo>
                <a:cubicBezTo>
                  <a:pt x="1575" y="393500"/>
                  <a:pt x="8174" y="366036"/>
                  <a:pt x="2645" y="388144"/>
                </a:cubicBezTo>
                <a:cubicBezTo>
                  <a:pt x="3439" y="400844"/>
                  <a:pt x="3449" y="413617"/>
                  <a:pt x="5027" y="426244"/>
                </a:cubicBezTo>
                <a:cubicBezTo>
                  <a:pt x="5839" y="432739"/>
                  <a:pt x="8202" y="438944"/>
                  <a:pt x="9789" y="445294"/>
                </a:cubicBezTo>
                <a:cubicBezTo>
                  <a:pt x="11752" y="453147"/>
                  <a:pt x="12964" y="461169"/>
                  <a:pt x="14552" y="469107"/>
                </a:cubicBezTo>
                <a:cubicBezTo>
                  <a:pt x="15044" y="471568"/>
                  <a:pt x="16324" y="473816"/>
                  <a:pt x="16933" y="476251"/>
                </a:cubicBezTo>
                <a:cubicBezTo>
                  <a:pt x="17915" y="480177"/>
                  <a:pt x="18436" y="484206"/>
                  <a:pt x="19314" y="488157"/>
                </a:cubicBezTo>
                <a:cubicBezTo>
                  <a:pt x="20024" y="491352"/>
                  <a:pt x="20985" y="494487"/>
                  <a:pt x="21695" y="497682"/>
                </a:cubicBezTo>
                <a:cubicBezTo>
                  <a:pt x="22573" y="501633"/>
                  <a:pt x="23353" y="505606"/>
                  <a:pt x="24077" y="509588"/>
                </a:cubicBezTo>
                <a:cubicBezTo>
                  <a:pt x="24941" y="514338"/>
                  <a:pt x="25287" y="519192"/>
                  <a:pt x="26458" y="523876"/>
                </a:cubicBezTo>
                <a:cubicBezTo>
                  <a:pt x="27675" y="528746"/>
                  <a:pt x="29633" y="533401"/>
                  <a:pt x="31220" y="538163"/>
                </a:cubicBezTo>
                <a:lnTo>
                  <a:pt x="33602" y="545307"/>
                </a:lnTo>
                <a:cubicBezTo>
                  <a:pt x="34614" y="569587"/>
                  <a:pt x="36233" y="616301"/>
                  <a:pt x="38364" y="642938"/>
                </a:cubicBezTo>
                <a:cubicBezTo>
                  <a:pt x="39190" y="653266"/>
                  <a:pt x="40790" y="663769"/>
                  <a:pt x="43127" y="673894"/>
                </a:cubicBezTo>
                <a:cubicBezTo>
                  <a:pt x="44599" y="680272"/>
                  <a:pt x="47889" y="692944"/>
                  <a:pt x="47889" y="692944"/>
                </a:cubicBezTo>
                <a:cubicBezTo>
                  <a:pt x="47095" y="697707"/>
                  <a:pt x="46555" y="702519"/>
                  <a:pt x="45508" y="707232"/>
                </a:cubicBezTo>
                <a:cubicBezTo>
                  <a:pt x="43579" y="715915"/>
                  <a:pt x="37976" y="725617"/>
                  <a:pt x="28839" y="728663"/>
                </a:cubicBezTo>
                <a:lnTo>
                  <a:pt x="14552" y="733426"/>
                </a:lnTo>
                <a:cubicBezTo>
                  <a:pt x="11546" y="732424"/>
                  <a:pt x="1684" y="729831"/>
                  <a:pt x="264" y="726282"/>
                </a:cubicBezTo>
                <a:cubicBezTo>
                  <a:pt x="-668" y="723951"/>
                  <a:pt x="1038" y="721066"/>
                  <a:pt x="2645" y="719138"/>
                </a:cubicBezTo>
                <a:cubicBezTo>
                  <a:pt x="5186" y="716089"/>
                  <a:pt x="8995" y="714375"/>
                  <a:pt x="12170" y="711994"/>
                </a:cubicBezTo>
                <a:cubicBezTo>
                  <a:pt x="16910" y="697779"/>
                  <a:pt x="14033" y="708070"/>
                  <a:pt x="16933" y="683419"/>
                </a:cubicBezTo>
                <a:cubicBezTo>
                  <a:pt x="17681" y="677063"/>
                  <a:pt x="16937" y="670311"/>
                  <a:pt x="19314" y="664369"/>
                </a:cubicBezTo>
                <a:cubicBezTo>
                  <a:pt x="20377" y="661712"/>
                  <a:pt x="26458" y="659607"/>
                  <a:pt x="26458" y="65960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6543882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0E94A8-0648-D043-B8F7-3AFA110B04BE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8" name="Connecteur droit 28"/>
          <p:cNvCxnSpPr/>
          <p:nvPr userDrawn="1"/>
        </p:nvCxnSpPr>
        <p:spPr>
          <a:xfrm>
            <a:off x="8958263" y="6605437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29"/>
          <p:cNvCxnSpPr/>
          <p:nvPr userDrawn="1"/>
        </p:nvCxnSpPr>
        <p:spPr>
          <a:xfrm>
            <a:off x="8575675" y="6557812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19 Imagen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12" y="6333826"/>
            <a:ext cx="2459017" cy="52417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5024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21" y="4874295"/>
            <a:ext cx="9133605" cy="198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8" y="6487287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6487287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en-US" smtClean="0">
                <a:solidFill>
                  <a:srgbClr val="6B747B"/>
                </a:solidFill>
              </a:rPr>
              <a:pPr/>
              <a:t>‹Nº›</a:t>
            </a:fld>
            <a:endParaRPr lang="en-US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8958263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8575675" y="6480460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358775" y="6457993"/>
            <a:ext cx="900000" cy="192558"/>
          </a:xfrm>
          <a:prstGeom prst="rect">
            <a:avLst/>
          </a:prstGeom>
        </p:spPr>
      </p:pic>
      <p:sp>
        <p:nvSpPr>
          <p:cNvPr id="13" name="Espace réservé du pied de page 4"/>
          <p:cNvSpPr txBox="1">
            <a:spLocks/>
          </p:cNvSpPr>
          <p:nvPr userDrawn="1"/>
        </p:nvSpPr>
        <p:spPr>
          <a:xfrm>
            <a:off x="7860485" y="112863"/>
            <a:ext cx="1003088" cy="123111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i="1" dirty="0" smtClean="0">
                <a:solidFill>
                  <a:srgbClr val="6B747B"/>
                </a:solidFill>
              </a:rPr>
              <a:t>For internal use only</a:t>
            </a:r>
            <a:endParaRPr lang="fr-FR" sz="700" i="1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10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07406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097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cid:image012.jpg@01D2D92B.0BC2E9B0" TargetMode="Externa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cid:image013.jpg@01D2D92B.0BC2E9B0" TargetMode="Externa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9" r="-833" b="7559"/>
          <a:stretch/>
        </p:blipFill>
        <p:spPr bwMode="auto">
          <a:xfrm>
            <a:off x="0" y="1"/>
            <a:ext cx="9220200" cy="517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re 2"/>
          <p:cNvSpPr>
            <a:spLocks noGrp="1"/>
          </p:cNvSpPr>
          <p:nvPr>
            <p:ph type="ctrTitle" idx="4294967295"/>
          </p:nvPr>
        </p:nvSpPr>
        <p:spPr>
          <a:xfrm>
            <a:off x="447675" y="5603875"/>
            <a:ext cx="8267700" cy="411163"/>
          </a:xfrm>
        </p:spPr>
        <p:txBody>
          <a:bodyPr/>
          <a:lstStyle/>
          <a:p>
            <a:pPr>
              <a:lnSpc>
                <a:spcPts val="3200"/>
              </a:lnSpc>
            </a:pPr>
            <a:r>
              <a:rPr lang="fr-FR" dirty="0" err="1" smtClean="0"/>
              <a:t>Titular</a:t>
            </a:r>
            <a:r>
              <a:rPr lang="fr-FR" dirty="0" smtClean="0"/>
              <a:t> </a:t>
            </a:r>
            <a:r>
              <a:rPr lang="fr-FR" dirty="0" err="1" smtClean="0"/>
              <a:t>sección</a:t>
            </a:r>
            <a:endParaRPr lang="en-US" dirty="0"/>
          </a:p>
        </p:txBody>
      </p:sp>
      <p:sp>
        <p:nvSpPr>
          <p:cNvPr id="8" name="7 Subtítulo"/>
          <p:cNvSpPr>
            <a:spLocks noGrp="1"/>
          </p:cNvSpPr>
          <p:nvPr>
            <p:ph type="subTitle" idx="4294967295"/>
          </p:nvPr>
        </p:nvSpPr>
        <p:spPr>
          <a:xfrm>
            <a:off x="447675" y="6151563"/>
            <a:ext cx="8267700" cy="365125"/>
          </a:xfrm>
        </p:spPr>
        <p:txBody>
          <a:bodyPr/>
          <a:lstStyle/>
          <a:p>
            <a:pPr marL="0" indent="0">
              <a:buNone/>
            </a:pPr>
            <a:r>
              <a:rPr lang="es-ES" dirty="0" err="1" smtClean="0">
                <a:solidFill>
                  <a:schemeClr val="bg1">
                    <a:lumMod val="50000"/>
                  </a:schemeClr>
                </a:solidFill>
              </a:rPr>
              <a:t>Subtitle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-66675" y="5019675"/>
            <a:ext cx="9210675" cy="154726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8 Rectángulo"/>
          <p:cNvSpPr/>
          <p:nvPr/>
        </p:nvSpPr>
        <p:spPr>
          <a:xfrm>
            <a:off x="-66675" y="4994694"/>
            <a:ext cx="9210675" cy="1863306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2 Subtítulo"/>
          <p:cNvSpPr txBox="1">
            <a:spLocks/>
          </p:cNvSpPr>
          <p:nvPr/>
        </p:nvSpPr>
        <p:spPr>
          <a:xfrm>
            <a:off x="941695" y="6117326"/>
            <a:ext cx="7615450" cy="459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rgbClr val="BE006B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1349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400" dirty="0" smtClean="0">
                <a:solidFill>
                  <a:schemeClr val="bg1"/>
                </a:solidFill>
              </a:rPr>
              <a:t>P&amp;V </a:t>
            </a:r>
            <a:r>
              <a:rPr lang="es-ES" sz="2400" dirty="0" err="1">
                <a:solidFill>
                  <a:schemeClr val="bg1"/>
                </a:solidFill>
              </a:rPr>
              <a:t>Activation</a:t>
            </a:r>
            <a:r>
              <a:rPr lang="es-ES" sz="2400" dirty="0">
                <a:solidFill>
                  <a:schemeClr val="bg1"/>
                </a:solidFill>
              </a:rPr>
              <a:t> – </a:t>
            </a:r>
            <a:r>
              <a:rPr lang="es-ES" sz="2400" dirty="0" err="1">
                <a:solidFill>
                  <a:schemeClr val="bg1"/>
                </a:solidFill>
              </a:rPr>
              <a:t>First</a:t>
            </a:r>
            <a:r>
              <a:rPr lang="es-ES" sz="2400" dirty="0">
                <a:solidFill>
                  <a:schemeClr val="bg1"/>
                </a:solidFill>
              </a:rPr>
              <a:t> </a:t>
            </a:r>
            <a:r>
              <a:rPr lang="es-ES" sz="2400" dirty="0" err="1">
                <a:solidFill>
                  <a:schemeClr val="bg1"/>
                </a:solidFill>
              </a:rPr>
              <a:t>Halft</a:t>
            </a:r>
            <a:r>
              <a:rPr lang="es-ES" sz="2400" dirty="0">
                <a:solidFill>
                  <a:schemeClr val="bg1"/>
                </a:solidFill>
              </a:rPr>
              <a:t> 2017</a:t>
            </a:r>
            <a:endParaRPr lang="es-ES" sz="1800" dirty="0">
              <a:solidFill>
                <a:schemeClr val="bg1"/>
              </a:solidFill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070" y="5385311"/>
            <a:ext cx="4013860" cy="54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89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60002" y="324001"/>
            <a:ext cx="8418554" cy="38779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E-learning </a:t>
            </a:r>
            <a:r>
              <a:rPr lang="en-US" b="1" dirty="0" smtClean="0">
                <a:solidFill>
                  <a:schemeClr val="accent4"/>
                </a:solidFill>
              </a:rPr>
              <a:t>Breakfast</a:t>
            </a:r>
            <a:endParaRPr lang="es-ES" sz="2000" b="1" dirty="0">
              <a:solidFill>
                <a:schemeClr val="accent4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7" name="Imagen 2" descr="cid:2a909572-71b5-41d7-8fda-af75a589eac9@EURP191.PROD.OUTLOOK.COM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428" y="2486112"/>
            <a:ext cx="1900256" cy="2538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3" descr="cid:7bef6287-8607-43ae-991e-8dec1a068318@EURP191.PROD.OUTLOOK.COM"/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54" y="2486337"/>
            <a:ext cx="3393315" cy="2538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n 4" descr="cid:84755199-c5d4-4966-811f-b79c8257b33c@EURP191.PROD.OUTLOOK.CO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069" y="2486112"/>
            <a:ext cx="3393359" cy="2545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1 Título"/>
          <p:cNvSpPr txBox="1">
            <a:spLocks/>
          </p:cNvSpPr>
          <p:nvPr/>
        </p:nvSpPr>
        <p:spPr>
          <a:xfrm>
            <a:off x="349116" y="782235"/>
            <a:ext cx="8418874" cy="5816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525CA3"/>
                </a:solidFill>
              </a:rPr>
              <a:t>"Essentials on Anti Bribery and </a:t>
            </a:r>
            <a:r>
              <a:rPr lang="en-US" sz="2400" b="1" dirty="0" smtClean="0">
                <a:solidFill>
                  <a:srgbClr val="525CA3"/>
                </a:solidFill>
              </a:rPr>
              <a:t>Corruption“ e-learning  </a:t>
            </a:r>
            <a:r>
              <a:rPr lang="es-ES" sz="1800" dirty="0" err="1" smtClean="0">
                <a:solidFill>
                  <a:srgbClr val="525CA3"/>
                </a:solidFill>
              </a:rPr>
              <a:t>May</a:t>
            </a:r>
            <a:r>
              <a:rPr lang="es-ES" sz="1800" dirty="0" smtClean="0">
                <a:solidFill>
                  <a:srgbClr val="525CA3"/>
                </a:solidFill>
              </a:rPr>
              <a:t> 2017</a:t>
            </a:r>
            <a:endParaRPr lang="es-ES" sz="1800" dirty="0">
              <a:solidFill>
                <a:srgbClr val="525C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9055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6" t="40480" r="115" b="9455"/>
          <a:stretch/>
        </p:blipFill>
        <p:spPr bwMode="auto">
          <a:xfrm>
            <a:off x="0" y="-13854"/>
            <a:ext cx="9143999" cy="517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Rectángulo"/>
          <p:cNvSpPr/>
          <p:nvPr/>
        </p:nvSpPr>
        <p:spPr>
          <a:xfrm>
            <a:off x="-66675" y="5019675"/>
            <a:ext cx="9210675" cy="154726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Titre 2"/>
          <p:cNvSpPr txBox="1">
            <a:spLocks/>
          </p:cNvSpPr>
          <p:nvPr/>
        </p:nvSpPr>
        <p:spPr>
          <a:xfrm>
            <a:off x="1221072" y="93727"/>
            <a:ext cx="8953501" cy="41036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fr-FR" b="1" dirty="0" smtClean="0">
                <a:solidFill>
                  <a:schemeClr val="bg1"/>
                </a:solidFill>
              </a:rPr>
              <a:t>One team, one </a:t>
            </a:r>
            <a:r>
              <a:rPr lang="fr-FR" b="1" dirty="0" err="1" smtClean="0">
                <a:solidFill>
                  <a:schemeClr val="bg1"/>
                </a:solidFill>
              </a:rPr>
              <a:t>purpose</a:t>
            </a:r>
            <a:r>
              <a:rPr lang="fr-FR" b="1" dirty="0" smtClean="0">
                <a:solidFill>
                  <a:schemeClr val="bg1"/>
                </a:solidFill>
              </a:rPr>
              <a:t>, </a:t>
            </a:r>
            <a:r>
              <a:rPr lang="fr-FR" b="1" dirty="0" err="1" smtClean="0">
                <a:solidFill>
                  <a:schemeClr val="bg1"/>
                </a:solidFill>
              </a:rPr>
              <a:t>shared</a:t>
            </a:r>
            <a:r>
              <a:rPr lang="fr-FR" b="1" dirty="0" smtClean="0">
                <a:solidFill>
                  <a:schemeClr val="bg1"/>
                </a:solidFill>
              </a:rPr>
              <a:t> valu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7 Subtítulo"/>
          <p:cNvSpPr txBox="1">
            <a:spLocks/>
          </p:cNvSpPr>
          <p:nvPr/>
        </p:nvSpPr>
        <p:spPr>
          <a:xfrm>
            <a:off x="429491" y="5466953"/>
            <a:ext cx="8537863" cy="365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rgbClr val="BE006B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1349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2400" dirty="0" smtClean="0">
                <a:solidFill>
                  <a:schemeClr val="tx2"/>
                </a:solidFill>
              </a:rPr>
              <a:t>Living and </a:t>
            </a:r>
            <a:r>
              <a:rPr lang="es-ES" sz="2400" dirty="0" err="1" smtClean="0">
                <a:solidFill>
                  <a:schemeClr val="tx2"/>
                </a:solidFill>
              </a:rPr>
              <a:t>serving</a:t>
            </a:r>
            <a:r>
              <a:rPr lang="es-ES" sz="2400" dirty="0" smtClean="0">
                <a:solidFill>
                  <a:schemeClr val="tx2"/>
                </a:solidFill>
              </a:rPr>
              <a:t> </a:t>
            </a:r>
            <a:r>
              <a:rPr lang="es-ES" sz="2400" dirty="0" err="1" smtClean="0">
                <a:solidFill>
                  <a:schemeClr val="tx2"/>
                </a:solidFill>
              </a:rPr>
              <a:t>together</a:t>
            </a:r>
            <a:endParaRPr lang="es-ES" sz="2400" dirty="0" smtClean="0">
              <a:solidFill>
                <a:schemeClr val="tx2"/>
              </a:solidFill>
            </a:endParaRPr>
          </a:p>
          <a:p>
            <a:pPr marL="0" indent="0" algn="ctr">
              <a:buFont typeface="Arial" charset="0"/>
              <a:buNone/>
            </a:pPr>
            <a:r>
              <a:rPr lang="es-ES" sz="2400" dirty="0" smtClean="0">
                <a:solidFill>
                  <a:schemeClr val="tx2"/>
                </a:solidFill>
              </a:rPr>
              <a:t> a </a:t>
            </a:r>
            <a:r>
              <a:rPr lang="es-ES" sz="2400" dirty="0" err="1" smtClean="0">
                <a:solidFill>
                  <a:schemeClr val="tx2"/>
                </a:solidFill>
              </a:rPr>
              <a:t>healthier</a:t>
            </a:r>
            <a:r>
              <a:rPr lang="es-ES" sz="2400" dirty="0" smtClean="0">
                <a:solidFill>
                  <a:schemeClr val="tx2"/>
                </a:solidFill>
              </a:rPr>
              <a:t> and </a:t>
            </a:r>
            <a:r>
              <a:rPr lang="es-ES" sz="2400" dirty="0" err="1" smtClean="0">
                <a:solidFill>
                  <a:schemeClr val="tx2"/>
                </a:solidFill>
              </a:rPr>
              <a:t>fuller</a:t>
            </a:r>
            <a:r>
              <a:rPr lang="es-ES" sz="2400" dirty="0" smtClean="0">
                <a:solidFill>
                  <a:schemeClr val="tx2"/>
                </a:solidFill>
              </a:rPr>
              <a:t> </a:t>
            </a:r>
            <a:r>
              <a:rPr lang="es-ES" sz="2400" dirty="0" err="1" smtClean="0">
                <a:solidFill>
                  <a:schemeClr val="tx2"/>
                </a:solidFill>
              </a:rPr>
              <a:t>life</a:t>
            </a:r>
            <a:endParaRPr lang="es-E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29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e0257826\Desktop\201703 - MAILING CHC VALORES - ENCUESTA-01.gif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555"/>
          <a:stretch/>
        </p:blipFill>
        <p:spPr bwMode="auto">
          <a:xfrm>
            <a:off x="-1" y="4826977"/>
            <a:ext cx="9157131" cy="206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070" y="3787155"/>
            <a:ext cx="4013860" cy="54103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5 CuadroTexto"/>
          <p:cNvSpPr txBox="1"/>
          <p:nvPr/>
        </p:nvSpPr>
        <p:spPr>
          <a:xfrm>
            <a:off x="422563" y="-118225"/>
            <a:ext cx="8775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Engaging the team  to Serve Healthier and Fuller Lives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06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60002" y="895999"/>
            <a:ext cx="8418874" cy="332399"/>
          </a:xfrm>
        </p:spPr>
        <p:txBody>
          <a:bodyPr/>
          <a:lstStyle/>
          <a:p>
            <a:pPr marL="0" indent="0"/>
            <a:r>
              <a:rPr lang="es-ES" sz="2400" b="1" dirty="0">
                <a:solidFill>
                  <a:srgbClr val="525CA3"/>
                </a:solidFill>
              </a:rPr>
              <a:t>Sales </a:t>
            </a:r>
            <a:r>
              <a:rPr lang="es-ES" sz="2400" b="1" dirty="0" err="1">
                <a:solidFill>
                  <a:srgbClr val="525CA3"/>
                </a:solidFill>
              </a:rPr>
              <a:t>Conference</a:t>
            </a:r>
            <a:r>
              <a:rPr lang="es-ES" sz="2400" b="1" dirty="0">
                <a:solidFill>
                  <a:srgbClr val="525CA3"/>
                </a:solidFill>
              </a:rPr>
              <a:t>  </a:t>
            </a:r>
            <a:r>
              <a:rPr lang="es-ES" sz="1800" dirty="0">
                <a:solidFill>
                  <a:srgbClr val="525CA3"/>
                </a:solidFill>
              </a:rPr>
              <a:t>Barcelona, </a:t>
            </a:r>
            <a:r>
              <a:rPr lang="es-ES" sz="1800" dirty="0" err="1">
                <a:solidFill>
                  <a:srgbClr val="525CA3"/>
                </a:solidFill>
              </a:rPr>
              <a:t>April</a:t>
            </a:r>
            <a:r>
              <a:rPr lang="es-ES" sz="1800" dirty="0">
                <a:solidFill>
                  <a:srgbClr val="525CA3"/>
                </a:solidFill>
              </a:rPr>
              <a:t> 18 -19 2017</a:t>
            </a:r>
            <a:endParaRPr lang="es-ES" sz="1800" dirty="0">
              <a:solidFill>
                <a:srgbClr val="525CA3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17410" name="Picture 2" descr="G:\CHC\0 GENERAL\AMBASSADORS PURPOSE &amp; VALUES\FOTOS Y VIDEOS PURPOSE\REUNIONDEVENTASCHC\FOTOS\20170418_Sanofi_Purpose_2048-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492" y="1567956"/>
            <a:ext cx="7035908" cy="468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 Título"/>
          <p:cNvSpPr txBox="1">
            <a:spLocks/>
          </p:cNvSpPr>
          <p:nvPr/>
        </p:nvSpPr>
        <p:spPr>
          <a:xfrm>
            <a:off x="360002" y="324000"/>
            <a:ext cx="8418874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solidFill>
                  <a:schemeClr val="accent4"/>
                </a:solidFill>
              </a:rPr>
              <a:t>Painting contest</a:t>
            </a:r>
            <a:endParaRPr lang="en-US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350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The painting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18434" name="Picture 2" descr="G:\CHC\0 GENERAL\AMBASSADORS PURPOSE &amp; VALUES\FOTOS Y VIDEOS PURPOSE\REUNIONDEVENTASCHC\FOTOS\20170418_Sanofi_Purpose_2048-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337" y="914450"/>
            <a:ext cx="7655672" cy="5102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46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The painting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5</a:t>
            </a:fld>
            <a:endParaRPr lang="fr-FR" dirty="0"/>
          </a:p>
        </p:txBody>
      </p:sp>
      <p:pic>
        <p:nvPicPr>
          <p:cNvPr id="7" name="Picture 2" descr="G:\CHC\0 GENERAL\AMBASSADORS PURPOSE &amp; VALUES\FOTOS Y VIDEOS PURPOSE\REUNIONDEVENTASCHC\FOTOS\20170418_Sanofi_Purpose_2048-6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98" y="941106"/>
            <a:ext cx="7942997" cy="529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269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The Ambassado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6</a:t>
            </a:fld>
            <a:endParaRPr lang="fr-FR" dirty="0"/>
          </a:p>
        </p:txBody>
      </p:sp>
      <p:pic>
        <p:nvPicPr>
          <p:cNvPr id="19458" name="Picture 2" descr="G:\CHC\0 GENERAL\AMBASSADORS PURPOSE &amp; VALUES\FOTOS Y VIDEOS PURPOSE\REUNIONDEVENTASCHC\FOTOS\20170418_Sanofi_Purpose_2048-2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38" y="1025729"/>
            <a:ext cx="7519916" cy="5012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206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The Winn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20482" name="Picture 2" descr="G:\CHC\0 GENERAL\AMBASSADORS PURPOSE &amp; VALUES\FOTOS Y VIDEOS PURPOSE\REUNIONDEVENTASCHC\FOTOS\20170418_Sanofi_Purpose_2048-2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915" y="3562482"/>
            <a:ext cx="3786313" cy="252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3" name="Picture 3" descr="G:\CHC\0 GENERAL\AMBASSADORS PURPOSE &amp; VALUES\FOTOS Y VIDEOS PURPOSE\REUNIONDEVENTASCHC\FOTOS\20170418_Sanofi_Purpose_2048-3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2" y="2320118"/>
            <a:ext cx="3728003" cy="2484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G:\CHC\0 GENERAL\AMBASSADORS PURPOSE &amp; VALUES\FOTOS Y VIDEOS PURPOSE\REUNIONDEVENTASCHC\FOTOS\20170418_Sanofi_Purpose_2048-3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915" y="913809"/>
            <a:ext cx="3753134" cy="250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563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Inspiring Agenda and Notebook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21507" name="Picture 3" descr="G:\CHC\0 GENERAL\AMBASSADORS PURPOSE &amp; VALUES\FOTOS Y VIDEOS PURPOSE\REUNIONDEVENTASCHC\FOTOS\20170418_Sanofi_Purpose_2048-5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2" y="1037229"/>
            <a:ext cx="3169495" cy="475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G:\CHC\0 GENERAL\AMBASSADORS PURPOSE &amp; VALUES\FOTOS Y VIDEOS PURPOSE\REUNIONDEVENTASCHC\FOTOS\20170418_Sanofi_Purpose_2048-6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034" y="941106"/>
            <a:ext cx="6583831" cy="4388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61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547669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Happy pills for a healthier and happier life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itre 1"/>
          <p:cNvSpPr txBox="1">
            <a:spLocks/>
          </p:cNvSpPr>
          <p:nvPr/>
        </p:nvSpPr>
        <p:spPr>
          <a:xfrm>
            <a:off x="1412034" y="719507"/>
            <a:ext cx="4517712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BE006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mtClean="0">
                <a:solidFill>
                  <a:schemeClr val="bg1"/>
                </a:solidFill>
              </a:rPr>
              <a:t>Nuestra aspiració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4" name="Espace réservé du numéro de diapositive 25"/>
          <p:cNvSpPr txBox="1">
            <a:spLocks/>
          </p:cNvSpPr>
          <p:nvPr/>
        </p:nvSpPr>
        <p:spPr>
          <a:xfrm>
            <a:off x="8619895" y="670006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fr-FR"/>
            </a:defPPr>
            <a:lvl1pPr marL="0" algn="r" defTabSz="6858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0E94A8-0648-D043-B8F7-3AFA110B04BE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21507" name="Picture 3" descr="G:\CHC\0 GENERAL\AMBASSADORS PURPOSE &amp; VALUES\FOTOS Y VIDEOS PURPOSE\REUNIONDEVENTASCHC\FOTOS\20170418_Sanofi_Purpose_2048-5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2" y="1037229"/>
            <a:ext cx="3169495" cy="475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4" name="Picture 2" descr="G:\CHC\0 GENERAL\AMBASSADORS PURPOSE &amp; VALUES\FOTOS Y VIDEOS PURPOSE\REUNIONDEVENTASCHC\FOTOS\20170418_Sanofi_Purpose_2048-9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470" y="2251749"/>
            <a:ext cx="4844955" cy="3229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4729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0d166790b95cd38b74a523208dbcb62c9dc5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5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4_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6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75</TotalTime>
  <Words>107</Words>
  <Application>Microsoft Office PowerPoint</Application>
  <PresentationFormat>Presentación en pantalla (4:3)</PresentationFormat>
  <Paragraphs>38</Paragraphs>
  <Slides>1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7" baseType="lpstr">
      <vt:lpstr>Theme SANOFI</vt:lpstr>
      <vt:lpstr>25_Conception personnalisée</vt:lpstr>
      <vt:lpstr>1_Theme SANOFI</vt:lpstr>
      <vt:lpstr>14_Theme SANOFI</vt:lpstr>
      <vt:lpstr>26_Conception personnalisée</vt:lpstr>
      <vt:lpstr>think-cell Slide</vt:lpstr>
      <vt:lpstr>Titular sección</vt:lpstr>
      <vt:lpstr>Presentación de PowerPoint</vt:lpstr>
      <vt:lpstr>Sales Conference  Barcelona, April 18 -19 2017</vt:lpstr>
      <vt:lpstr>The paintings</vt:lpstr>
      <vt:lpstr>The paintings</vt:lpstr>
      <vt:lpstr>The Ambassadors</vt:lpstr>
      <vt:lpstr>The Winners</vt:lpstr>
      <vt:lpstr>Inspiring Agenda and Notebooks</vt:lpstr>
      <vt:lpstr>Happy pills for a healthier and happier life</vt:lpstr>
      <vt:lpstr>E-learning Breakfas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Utilisateur de Microsoft Office</dc:creator>
  <cp:lastModifiedBy>Aran, Alexia /ES</cp:lastModifiedBy>
  <cp:revision>393</cp:revision>
  <cp:lastPrinted>2016-05-12T12:59:32Z</cp:lastPrinted>
  <dcterms:created xsi:type="dcterms:W3CDTF">2016-03-31T07:41:01Z</dcterms:created>
  <dcterms:modified xsi:type="dcterms:W3CDTF">2017-12-14T11:1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